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396" r:id="rId2"/>
    <p:sldId id="266" r:id="rId3"/>
    <p:sldId id="392" r:id="rId4"/>
    <p:sldId id="393" r:id="rId5"/>
    <p:sldId id="394" r:id="rId6"/>
    <p:sldId id="395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4694"/>
  </p:normalViewPr>
  <p:slideViewPr>
    <p:cSldViewPr snapToGrid="0" snapToObjects="1">
      <p:cViewPr varScale="1">
        <p:scale>
          <a:sx n="88" d="100"/>
          <a:sy n="88" d="100"/>
        </p:scale>
        <p:origin x="114" y="7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32121-B0DF-C14D-91B8-34CB21743DA4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B78897-C5FC-1744-B46F-3532F4903F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623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8A74ED-F9CF-C840-8327-C350C2371A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2DCF1-A799-2944-A7A1-E200D232119D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A14ED3-357E-4844-8A7B-295726EDC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378DC-B40B-484A-A545-763DE64A3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56B140-A667-444D-9C49-3AE529710F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92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2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8552CF-145A-A049-A1E2-31168CD06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181762-D408-A545-A8D6-EA079F16DA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221945-DD78-894C-B41C-A4F8750F5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D2DCF1-A799-2944-A7A1-E200D232119D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3C810D-9D27-4745-9F07-CD50FC0F7E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80BCE2-90FD-2747-B3C8-078318F0AF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56B140-A667-444D-9C49-3AE529710F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10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64907" y="1210962"/>
            <a:ext cx="32868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eal</a:t>
            </a:r>
          </a:p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etwork</a:t>
            </a:r>
          </a:p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oken</a:t>
            </a:r>
            <a:endParaRPr lang="en-US" sz="5400" b="1" cap="sm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0043" y="6359610"/>
            <a:ext cx="5082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: Roberto Cantu, Cristian </a:t>
            </a:r>
            <a:r>
              <a:rPr lang="en-US" dirty="0" err="1" smtClean="0"/>
              <a:t>Smoger</a:t>
            </a:r>
            <a:r>
              <a:rPr lang="en-US" dirty="0" smtClean="0"/>
              <a:t>, and Mina Kasrai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/>
          <a:srcRect l="3028" t="7275" r="5712" b="10710"/>
          <a:stretch/>
        </p:blipFill>
        <p:spPr>
          <a:xfrm>
            <a:off x="9422410" y="457200"/>
            <a:ext cx="2007590" cy="194854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0528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208463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654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7059" y="757881"/>
            <a:ext cx="510746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ct as middlemen for customers daunted by 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ockchain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technology to help them reap the benefits without needing to understand the intricacies of the field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5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17059" y="757881"/>
            <a:ext cx="51074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int non-fungible tokens for property assets on the 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ockchain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for irrefutable proof of ownership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25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17059" y="757881"/>
            <a:ext cx="51074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rrange for sale of property assets and transfer of tokens to new owners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98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17059" y="757881"/>
            <a:ext cx="51074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cale the business to provide a front end user interface allowing easier viewing for potential buyers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867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SlideShop - Individual Slide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ABC53"/>
      </a:accent1>
      <a:accent2>
        <a:srgbClr val="58A6CF"/>
      </a:accent2>
      <a:accent3>
        <a:srgbClr val="3B549A"/>
      </a:accent3>
      <a:accent4>
        <a:srgbClr val="E36751"/>
      </a:accent4>
      <a:accent5>
        <a:srgbClr val="6955A0"/>
      </a:accent5>
      <a:accent6>
        <a:srgbClr val="222424"/>
      </a:accent6>
      <a:hlink>
        <a:srgbClr val="3A4762"/>
      </a:hlink>
      <a:folHlink>
        <a:srgbClr val="88C5D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4</TotalTime>
  <Words>216</Words>
  <Application>Microsoft Office PowerPoint</Application>
  <PresentationFormat>Widescreen</PresentationFormat>
  <Paragraphs>49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Butler</dc:creator>
  <cp:lastModifiedBy>Mina Kasrai</cp:lastModifiedBy>
  <cp:revision>90</cp:revision>
  <dcterms:created xsi:type="dcterms:W3CDTF">2019-09-20T16:50:13Z</dcterms:created>
  <dcterms:modified xsi:type="dcterms:W3CDTF">2020-01-23T22:04:27Z</dcterms:modified>
</cp:coreProperties>
</file>